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46"/>
  </p:notesMasterIdLst>
  <p:handoutMasterIdLst>
    <p:handoutMasterId r:id="rId47"/>
  </p:handoutMasterIdLst>
  <p:sldIdLst>
    <p:sldId id="3003" r:id="rId3"/>
    <p:sldId id="3911" r:id="rId4"/>
    <p:sldId id="4148" r:id="rId5"/>
    <p:sldId id="4149" r:id="rId6"/>
    <p:sldId id="4150" r:id="rId7"/>
    <p:sldId id="4181" r:id="rId8"/>
    <p:sldId id="4151" r:id="rId9"/>
    <p:sldId id="4152" r:id="rId10"/>
    <p:sldId id="4153" r:id="rId11"/>
    <p:sldId id="4154" r:id="rId12"/>
    <p:sldId id="4155" r:id="rId13"/>
    <p:sldId id="4156" r:id="rId14"/>
    <p:sldId id="4157" r:id="rId15"/>
    <p:sldId id="4158" r:id="rId16"/>
    <p:sldId id="4167" r:id="rId17"/>
    <p:sldId id="4159" r:id="rId18"/>
    <p:sldId id="4168" r:id="rId19"/>
    <p:sldId id="4160" r:id="rId20"/>
    <p:sldId id="4161" r:id="rId21"/>
    <p:sldId id="4169" r:id="rId22"/>
    <p:sldId id="4162" r:id="rId23"/>
    <p:sldId id="4163" r:id="rId24"/>
    <p:sldId id="4170" r:id="rId25"/>
    <p:sldId id="4171" r:id="rId26"/>
    <p:sldId id="4164" r:id="rId27"/>
    <p:sldId id="4165" r:id="rId28"/>
    <p:sldId id="4179" r:id="rId29"/>
    <p:sldId id="3981" r:id="rId30"/>
    <p:sldId id="3982" r:id="rId31"/>
    <p:sldId id="4166" r:id="rId32"/>
    <p:sldId id="4180" r:id="rId33"/>
    <p:sldId id="4176" r:id="rId34"/>
    <p:sldId id="4175" r:id="rId35"/>
    <p:sldId id="4172" r:id="rId36"/>
    <p:sldId id="4173" r:id="rId37"/>
    <p:sldId id="4174" r:id="rId38"/>
    <p:sldId id="4183" r:id="rId39"/>
    <p:sldId id="4182" r:id="rId40"/>
    <p:sldId id="4184" r:id="rId41"/>
    <p:sldId id="4185" r:id="rId42"/>
    <p:sldId id="4186" r:id="rId43"/>
    <p:sldId id="4187" r:id="rId44"/>
    <p:sldId id="4188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D200"/>
    <a:srgbClr val="55752F"/>
    <a:srgbClr val="7B92A8"/>
    <a:srgbClr val="979797"/>
    <a:srgbClr val="BFA19C"/>
    <a:srgbClr val="6E8E84"/>
    <a:srgbClr val="B0B0B0"/>
    <a:srgbClr val="919191"/>
    <a:srgbClr val="1A476F"/>
    <a:srgbClr val="A05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42" autoAdjust="0"/>
    <p:restoredTop sz="67755" autoAdjust="0"/>
  </p:normalViewPr>
  <p:slideViewPr>
    <p:cSldViewPr snapToGrid="0">
      <p:cViewPr>
        <p:scale>
          <a:sx n="80" d="100"/>
          <a:sy n="80" d="100"/>
        </p:scale>
        <p:origin x="1528" y="280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23432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2/28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2/28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40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8636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3001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1333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4766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884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796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9420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542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3060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1579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3981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586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8597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3207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0320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9437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279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08354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452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7570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4780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065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34968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0464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6870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769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33790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0047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37308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1937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03632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61806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617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664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0360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67831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67167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751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4921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3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17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161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587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1.xml"/><Relationship Id="rId21" Type="http://schemas.openxmlformats.org/officeDocument/2006/relationships/image" Target="../media/image1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theme" Target="../theme/theme2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2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scholar.princeton.edu/zidar/classes/mit-14472-graduate-public-economics-ii-guest-lectures-spatial-public-financ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files.webservices.illinois.edu/6984/bastainjacob-paper-11-6-17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04" tIns="45718" rIns="91404" bIns="4571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96190"/>
            <a:ext cx="12192000" cy="6093972"/>
          </a:xfrm>
          <a:prstGeom prst="rect">
            <a:avLst/>
          </a:prstGeom>
          <a:effectLst/>
        </p:spPr>
        <p:txBody>
          <a:bodyPr wrap="square" lIns="91404" tIns="45718" rIns="91404" bIns="45718">
            <a:spAutoFit/>
          </a:bodyPr>
          <a:lstStyle/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Public Economics (2450B)</a:t>
            </a:r>
          </a:p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Topic 7: The EITC</a:t>
            </a:r>
          </a:p>
          <a:p>
            <a:pPr algn="ctr"/>
            <a:endParaRPr lang="en-US" sz="4000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Nathaniel Hendren*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Spring, 2022</a:t>
            </a:r>
          </a:p>
          <a:p>
            <a:pPr algn="ctr"/>
            <a:endParaRPr lang="en-US" sz="1500" b="1" dirty="0">
              <a:solidFill>
                <a:srgbClr val="FF0000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5899B81-1B4C-8848-86BE-C0B5273D5DC4}"/>
              </a:ext>
            </a:extLst>
          </p:cNvPr>
          <p:cNvSpPr txBox="1"/>
          <p:nvPr/>
        </p:nvSpPr>
        <p:spPr>
          <a:xfrm>
            <a:off x="-1" y="6211669"/>
            <a:ext cx="80231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Much of these slides are based on wonderful </a:t>
            </a:r>
            <a:r>
              <a:rPr lang="en-US" dirty="0">
                <a:hlinkClick r:id="rId3"/>
              </a:rPr>
              <a:t>lectures</a:t>
            </a:r>
            <a:r>
              <a:rPr lang="en-US" dirty="0"/>
              <a:t> prepared by Owen </a:t>
            </a:r>
            <a:r>
              <a:rPr lang="en-US" dirty="0" err="1"/>
              <a:t>Zidar</a:t>
            </a:r>
            <a:r>
              <a:rPr lang="en-US" dirty="0"/>
              <a:t>, which are in turn based on lectures from Pat Kline and Juan Carlos </a:t>
            </a:r>
            <a:r>
              <a:rPr lang="en-US" dirty="0" err="1"/>
              <a:t>Suarrez</a:t>
            </a:r>
            <a:r>
              <a:rPr lang="en-US" dirty="0"/>
              <a:t> Serrato.</a:t>
            </a:r>
          </a:p>
        </p:txBody>
      </p:sp>
    </p:spTree>
    <p:extLst>
      <p:ext uri="{BB962C8B-B14F-4D97-AF65-F5344CB8AC3E}">
        <p14:creationId xmlns:p14="http://schemas.microsoft.com/office/powerpoint/2010/main" val="3836569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D705F946-5EE5-D444-B9AF-5E8E62D039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689" y="0"/>
            <a:ext cx="91646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8737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410EDE-B5F0-5241-A5EC-9A405866A5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201" y="0"/>
            <a:ext cx="91675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531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90EA77-B959-AE40-8B2F-9B4F75F5DB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783" y="0"/>
            <a:ext cx="91204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67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0E5732FB-04FA-AD4B-A454-5992463F45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475" y="0"/>
            <a:ext cx="91410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596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9478FFA3-2E4A-3745-B7A6-C3723D0AE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050" y="0"/>
            <a:ext cx="91498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332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Why does impact of EITC on income vary so much across areas?</a:t>
            </a:r>
          </a:p>
          <a:p>
            <a:endParaRPr lang="en-US" dirty="0"/>
          </a:p>
          <a:p>
            <a:r>
              <a:rPr lang="en-US" dirty="0"/>
              <a:t>Plausible behavioral model: differences in knowledge about EITC To test this explanation, consider individuals who move</a:t>
            </a:r>
          </a:p>
          <a:p>
            <a:endParaRPr lang="en-US" sz="2400" dirty="0"/>
          </a:p>
          <a:p>
            <a:r>
              <a:rPr lang="en-US" dirty="0"/>
              <a:t>Knowledge model predicts asymmetric impact of moving: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Moving to a higher-bunching area should raise EITC refund </a:t>
            </a:r>
          </a:p>
          <a:p>
            <a:pPr lvl="1"/>
            <a:r>
              <a:rPr lang="en-US" dirty="0"/>
              <a:t>Moving to a lower-bunching area should not affect EITC refund </a:t>
            </a:r>
            <a:endParaRPr lang="en-US" sz="2000" dirty="0"/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Differences in Knowledge about the EITC?</a:t>
            </a:r>
          </a:p>
        </p:txBody>
      </p:sp>
    </p:spTree>
    <p:extLst>
      <p:ext uri="{BB962C8B-B14F-4D97-AF65-F5344CB8AC3E}">
        <p14:creationId xmlns:p14="http://schemas.microsoft.com/office/powerpoint/2010/main" val="3645362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4E0900A7-0231-A74F-A7CA-8C1C4553CA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570" y="0"/>
            <a:ext cx="91528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516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Paper documents clear evidence of heterogeneous bunching across areas </a:t>
            </a:r>
          </a:p>
          <a:p>
            <a:pPr lvl="1"/>
            <a:r>
              <a:rPr lang="en-US" dirty="0"/>
              <a:t>Driven mainly by self-employed (</a:t>
            </a:r>
            <a:r>
              <a:rPr lang="en-US" dirty="0" err="1"/>
              <a:t>Saez</a:t>
            </a:r>
            <a:r>
              <a:rPr lang="en-US" dirty="0"/>
              <a:t> 2010) </a:t>
            </a:r>
          </a:p>
          <a:p>
            <a:pPr lvl="1"/>
            <a:r>
              <a:rPr lang="en-US" dirty="0"/>
              <a:t>Easy to manipulate income </a:t>
            </a:r>
          </a:p>
          <a:p>
            <a:endParaRPr lang="en-US" dirty="0"/>
          </a:p>
          <a:p>
            <a:r>
              <a:rPr lang="en-US" dirty="0"/>
              <a:t>Paper goes on to exploit bunching variation to ask a much deeper (more difficult) question: </a:t>
            </a:r>
          </a:p>
          <a:p>
            <a:endParaRPr lang="en-US" dirty="0"/>
          </a:p>
          <a:p>
            <a:r>
              <a:rPr lang="en-US" dirty="0"/>
              <a:t>How does EITC affect real labor supply?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Differences in Knowledge about the EITC?</a:t>
            </a:r>
          </a:p>
        </p:txBody>
      </p:sp>
    </p:spTree>
    <p:extLst>
      <p:ext uri="{BB962C8B-B14F-4D97-AF65-F5344CB8AC3E}">
        <p14:creationId xmlns:p14="http://schemas.microsoft.com/office/powerpoint/2010/main" val="23867410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0791CC58-073C-A24B-953F-F8B439B3D4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377" y="0"/>
            <a:ext cx="90912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456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60AF80F3-A47C-BB4D-BE29-EAF47B46FB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654" y="0"/>
            <a:ext cx="91586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0319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Lots of papers on the EITC. In class, we will discuss: 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leve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(2021)</a:t>
            </a: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Bastian and Jones (2021)</a:t>
            </a: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Bastian (2020)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(not assigned reading – slides follow)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EITC Papers</a:t>
            </a:r>
          </a:p>
        </p:txBody>
      </p:sp>
    </p:spTree>
    <p:extLst>
      <p:ext uri="{BB962C8B-B14F-4D97-AF65-F5344CB8AC3E}">
        <p14:creationId xmlns:p14="http://schemas.microsoft.com/office/powerpoint/2010/main" val="39545590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Comparisons across areas could be biased by omitted variables </a:t>
            </a:r>
          </a:p>
          <a:p>
            <a:endParaRPr lang="en-US" dirty="0"/>
          </a:p>
          <a:p>
            <a:r>
              <a:rPr lang="en-US" dirty="0"/>
              <a:t>Study changes in earnings around childbirth to address this concern </a:t>
            </a:r>
          </a:p>
          <a:p>
            <a:endParaRPr lang="en-US" dirty="0"/>
          </a:p>
          <a:p>
            <a:pPr lvl="1"/>
            <a:r>
              <a:rPr lang="en-US" dirty="0"/>
              <a:t>Individuals without children are essentially ineligible for the EITC </a:t>
            </a:r>
          </a:p>
          <a:p>
            <a:pPr lvl="1"/>
            <a:r>
              <a:rPr lang="en-US" dirty="0"/>
              <a:t>Birth of a child generates sharp variation in marginal incentives </a:t>
            </a:r>
            <a:endParaRPr lang="en-US" dirty="0">
              <a:effectLst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Child Birth Research Design</a:t>
            </a:r>
          </a:p>
        </p:txBody>
      </p:sp>
    </p:spTree>
    <p:extLst>
      <p:ext uri="{BB962C8B-B14F-4D97-AF65-F5344CB8AC3E}">
        <p14:creationId xmlns:p14="http://schemas.microsoft.com/office/powerpoint/2010/main" val="6882028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C4AC5BCE-940C-D04C-B298-1D28CA27BB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420" y="0"/>
            <a:ext cx="92151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21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18BF784D-3E36-F447-806E-8AB1681CD3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702" y="0"/>
            <a:ext cx="91825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869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Paycheck Plus provides RCT-like incentives to singles without children</a:t>
            </a:r>
            <a:endParaRPr lang="en-US" sz="2000" dirty="0"/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Paycheck Plus</a:t>
            </a:r>
          </a:p>
        </p:txBody>
      </p:sp>
    </p:spTree>
    <p:extLst>
      <p:ext uri="{BB962C8B-B14F-4D97-AF65-F5344CB8AC3E}">
        <p14:creationId xmlns:p14="http://schemas.microsoft.com/office/powerpoint/2010/main" val="26425088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Paycheck Plus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0B055CF8-56C7-8A4E-9324-8535068F96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2730"/>
            <a:ext cx="8537800" cy="685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4509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045DC1E4-3081-7847-9ACA-C018C6024B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40" y="851234"/>
            <a:ext cx="11018920" cy="5509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8599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5C5E5916-37AC-7442-8674-D49318D357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033" y="0"/>
            <a:ext cx="73379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8942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What is the impact of EITC on kids? </a:t>
            </a:r>
          </a:p>
          <a:p>
            <a:endParaRPr lang="en-US" dirty="0"/>
          </a:p>
          <a:p>
            <a:r>
              <a:rPr lang="en-US" dirty="0"/>
              <a:t>Crucial for thinking about the MVPF of the EITC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Impact on Kids</a:t>
            </a:r>
          </a:p>
        </p:txBody>
      </p:sp>
    </p:spTree>
    <p:extLst>
      <p:ext uri="{BB962C8B-B14F-4D97-AF65-F5344CB8AC3E}">
        <p14:creationId xmlns:p14="http://schemas.microsoft.com/office/powerpoint/2010/main" val="40204549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Estimat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and Without Spillovers on Children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FD448E8B-85D1-447E-94F1-D7CD66A35828}"/>
              </a:ext>
            </a:extLst>
          </p:cNvPr>
          <p:cNvSpPr txBox="1"/>
          <p:nvPr/>
        </p:nvSpPr>
        <p:spPr>
          <a:xfrm>
            <a:off x="11379194" y="6338929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 action="ppaction://noaction"/>
              </a:rPr>
              <a:t>Back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F1665D4-DBB7-DB4D-B692-102656013DEC}"/>
              </a:ext>
            </a:extLst>
          </p:cNvPr>
          <p:cNvSpPr txBox="1"/>
          <p:nvPr/>
        </p:nvSpPr>
        <p:spPr>
          <a:xfrm>
            <a:off x="9122852" y="6414493"/>
            <a:ext cx="13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979797"/>
                </a:solidFill>
                <a:hlinkClick r:id="" action="ppaction://noaction"/>
              </a:rPr>
              <a:t>Theory Back</a:t>
            </a:r>
            <a:endParaRPr lang="en-US" u="sng" dirty="0">
              <a:solidFill>
                <a:srgbClr val="979797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3B1CD7-137D-440C-AE50-299A9A015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092200"/>
            <a:ext cx="9688513" cy="4233863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30DDBC0A-2829-4363-B0E5-E9560F926C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1752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ED075640-FEE9-49BA-BFFF-D5D2A5AABBC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6132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D94E007C-ADA0-456A-9EFE-F048407EA0B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0513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CAB2DD94-C7E6-43BF-ACC0-364CF36A655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877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12784DA7-D1F1-463D-A8B8-DC5A04D53A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92576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480A4C41-743A-4004-BBA0-7E68F007AD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3685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F837B8C1-0D27-429D-9D61-9D7582E21F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8065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2D493E88-A110-4E0F-A571-E64FD941FF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2430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0A185C47-4703-4C03-B8C5-67EFB56F68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243012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DD14F28-3466-4133-867A-724A5F342E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4100513"/>
            <a:ext cx="700088" cy="512763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2805A6-601E-4791-BA72-C2A9ADD97A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2076" y="4105275"/>
            <a:ext cx="698500" cy="508000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79A9EC-7863-4D74-9AC1-92C0BD44E5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248150"/>
            <a:ext cx="695325" cy="36512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636A4D9-D7BD-480B-BF91-0F56EA334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3051" y="4448175"/>
            <a:ext cx="698500" cy="165100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63B2C0-D459-4904-B601-75FB00D7D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051300"/>
            <a:ext cx="700088" cy="56197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AC4F8A1-BE33-4EE0-8CCE-43609F96F6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3501" y="4100513"/>
            <a:ext cx="698500" cy="512763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63F6C90-3B54-48C7-9C00-9AF4F63041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6" y="4105275"/>
            <a:ext cx="695325" cy="508000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374E54D-4ECC-4B9B-9F5B-D4768A7E3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476" y="4229100"/>
            <a:ext cx="700088" cy="3841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6C1C18-F57A-4B78-9B37-2724B00F7F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1551" y="4613275"/>
            <a:ext cx="700088" cy="4763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583AFE-EAD5-4043-AEA8-4CB2B60A5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90213" y="3840163"/>
            <a:ext cx="700088" cy="773113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B00A5DA5-D706-4E95-AA94-DD324101C7A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51076" y="4056063"/>
            <a:ext cx="0" cy="9525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FB1E9D55-3695-4786-9BAA-2D6FC89E21AA}"/>
              </a:ext>
            </a:extLst>
          </p:cNvPr>
          <p:cNvSpPr>
            <a:spLocks noChangeShapeType="1"/>
          </p:cNvSpPr>
          <p:nvPr/>
        </p:nvSpPr>
        <p:spPr bwMode="auto">
          <a:xfrm>
            <a:off x="2209801" y="40560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A4F73FC5-F9B6-4A5D-808F-0C9F4D4C6C88}"/>
              </a:ext>
            </a:extLst>
          </p:cNvPr>
          <p:cNvSpPr>
            <a:spLocks noChangeShapeType="1"/>
          </p:cNvSpPr>
          <p:nvPr/>
        </p:nvSpPr>
        <p:spPr bwMode="auto">
          <a:xfrm>
            <a:off x="2209801" y="415131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E1938C6B-A526-4C4C-A912-83EA1FACCF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51163" y="4056063"/>
            <a:ext cx="0" cy="9525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Line 31">
            <a:extLst>
              <a:ext uri="{FF2B5EF4-FFF2-40B4-BE49-F238E27FC236}">
                <a16:creationId xmlns:a16="http://schemas.microsoft.com/office/drawing/2014/main" id="{80DAD211-993F-4AC4-B294-93E8F7ACD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09888" y="40560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Line 32">
            <a:extLst>
              <a:ext uri="{FF2B5EF4-FFF2-40B4-BE49-F238E27FC236}">
                <a16:creationId xmlns:a16="http://schemas.microsoft.com/office/drawing/2014/main" id="{8341443C-5C86-4653-AC1E-E222FC9CF067}"/>
              </a:ext>
            </a:extLst>
          </p:cNvPr>
          <p:cNvSpPr>
            <a:spLocks noChangeShapeType="1"/>
          </p:cNvSpPr>
          <p:nvPr/>
        </p:nvSpPr>
        <p:spPr bwMode="auto">
          <a:xfrm>
            <a:off x="2909888" y="415131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Line 33">
            <a:extLst>
              <a:ext uri="{FF2B5EF4-FFF2-40B4-BE49-F238E27FC236}">
                <a16:creationId xmlns:a16="http://schemas.microsoft.com/office/drawing/2014/main" id="{892BDE1A-DA65-4A20-A73F-F9212354A5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8151" y="4073525"/>
            <a:ext cx="0" cy="6032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Line 34">
            <a:extLst>
              <a:ext uri="{FF2B5EF4-FFF2-40B4-BE49-F238E27FC236}">
                <a16:creationId xmlns:a16="http://schemas.microsoft.com/office/drawing/2014/main" id="{DC8D905A-20F8-4531-B886-9D361FA7E619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4073525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Line 35">
            <a:extLst>
              <a:ext uri="{FF2B5EF4-FFF2-40B4-BE49-F238E27FC236}">
                <a16:creationId xmlns:a16="http://schemas.microsoft.com/office/drawing/2014/main" id="{695672AF-E55F-422A-8B7D-D81AD960856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4133850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Line 36">
            <a:extLst>
              <a:ext uri="{FF2B5EF4-FFF2-40B4-BE49-F238E27FC236}">
                <a16:creationId xmlns:a16="http://schemas.microsoft.com/office/drawing/2014/main" id="{8BB2BAEA-D012-4348-A52C-6BE5DD7517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48238" y="4073525"/>
            <a:ext cx="0" cy="6032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Line 37">
            <a:extLst>
              <a:ext uri="{FF2B5EF4-FFF2-40B4-BE49-F238E27FC236}">
                <a16:creationId xmlns:a16="http://schemas.microsoft.com/office/drawing/2014/main" id="{04A6656B-7C7E-4583-84A2-9BA0C0F428D1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6963" y="407352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38">
            <a:extLst>
              <a:ext uri="{FF2B5EF4-FFF2-40B4-BE49-F238E27FC236}">
                <a16:creationId xmlns:a16="http://schemas.microsoft.com/office/drawing/2014/main" id="{C64692BF-CF2D-4EA6-85BF-8C4E4CE67C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6963" y="4133850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39">
            <a:extLst>
              <a:ext uri="{FF2B5EF4-FFF2-40B4-BE49-F238E27FC236}">
                <a16:creationId xmlns:a16="http://schemas.microsoft.com/office/drawing/2014/main" id="{92324CC8-525A-4C48-B158-28806D360C5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46813" y="4219575"/>
            <a:ext cx="0" cy="5080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40">
            <a:extLst>
              <a:ext uri="{FF2B5EF4-FFF2-40B4-BE49-F238E27FC236}">
                <a16:creationId xmlns:a16="http://schemas.microsoft.com/office/drawing/2014/main" id="{0A9A4675-B587-4B2C-8A44-1E78D0D39A51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8" y="421957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41">
            <a:extLst>
              <a:ext uri="{FF2B5EF4-FFF2-40B4-BE49-F238E27FC236}">
                <a16:creationId xmlns:a16="http://schemas.microsoft.com/office/drawing/2014/main" id="{14AB7022-519B-4840-B1AB-1EC3A30364B3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8" y="427037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42">
            <a:extLst>
              <a:ext uri="{FF2B5EF4-FFF2-40B4-BE49-F238E27FC236}">
                <a16:creationId xmlns:a16="http://schemas.microsoft.com/office/drawing/2014/main" id="{8C11F038-2306-47CA-80B5-D1B537798A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46901" y="4183063"/>
            <a:ext cx="0" cy="87313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43">
            <a:extLst>
              <a:ext uri="{FF2B5EF4-FFF2-40B4-BE49-F238E27FC236}">
                <a16:creationId xmlns:a16="http://schemas.microsoft.com/office/drawing/2014/main" id="{1BBF052D-04D2-4CEC-8FDD-E25C4334094C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5626" y="4183063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Line 44">
            <a:extLst>
              <a:ext uri="{FF2B5EF4-FFF2-40B4-BE49-F238E27FC236}">
                <a16:creationId xmlns:a16="http://schemas.microsoft.com/office/drawing/2014/main" id="{EC6D6CD5-D203-4A43-B090-3605C13682C5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5626" y="427037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Line 45">
            <a:extLst>
              <a:ext uri="{FF2B5EF4-FFF2-40B4-BE49-F238E27FC236}">
                <a16:creationId xmlns:a16="http://schemas.microsoft.com/office/drawing/2014/main" id="{B16ED909-7966-4592-B522-16504D239B2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45476" y="4187825"/>
            <a:ext cx="0" cy="34290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Line 46">
            <a:extLst>
              <a:ext uri="{FF2B5EF4-FFF2-40B4-BE49-F238E27FC236}">
                <a16:creationId xmlns:a16="http://schemas.microsoft.com/office/drawing/2014/main" id="{E4D2B14E-A9AA-466C-9684-B663A3803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41878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Line 47">
            <a:extLst>
              <a:ext uri="{FF2B5EF4-FFF2-40B4-BE49-F238E27FC236}">
                <a16:creationId xmlns:a16="http://schemas.microsoft.com/office/drawing/2014/main" id="{FAD81C64-CD99-429F-BAE3-0EC7FCC9D80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45307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Line 48">
            <a:extLst>
              <a:ext uri="{FF2B5EF4-FFF2-40B4-BE49-F238E27FC236}">
                <a16:creationId xmlns:a16="http://schemas.microsoft.com/office/drawing/2014/main" id="{4640690B-08AD-438E-920F-6FF344B609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43976" y="1806575"/>
            <a:ext cx="0" cy="3268663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Line 49">
            <a:extLst>
              <a:ext uri="{FF2B5EF4-FFF2-40B4-BE49-F238E27FC236}">
                <a16:creationId xmlns:a16="http://schemas.microsoft.com/office/drawing/2014/main" id="{F6E7749C-9B90-47FA-8AF0-41EA1F58DE82}"/>
              </a:ext>
            </a:extLst>
          </p:cNvPr>
          <p:cNvSpPr>
            <a:spLocks noChangeShapeType="1"/>
          </p:cNvSpPr>
          <p:nvPr/>
        </p:nvSpPr>
        <p:spPr bwMode="auto">
          <a:xfrm>
            <a:off x="8897938" y="180657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Line 50">
            <a:extLst>
              <a:ext uri="{FF2B5EF4-FFF2-40B4-BE49-F238E27FC236}">
                <a16:creationId xmlns:a16="http://schemas.microsoft.com/office/drawing/2014/main" id="{FAC703B2-E6E6-49E2-A75A-E55BD81FAE64}"/>
              </a:ext>
            </a:extLst>
          </p:cNvPr>
          <p:cNvSpPr>
            <a:spLocks noChangeShapeType="1"/>
          </p:cNvSpPr>
          <p:nvPr/>
        </p:nvSpPr>
        <p:spPr bwMode="auto">
          <a:xfrm>
            <a:off x="8897938" y="5075238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Line 51">
            <a:extLst>
              <a:ext uri="{FF2B5EF4-FFF2-40B4-BE49-F238E27FC236}">
                <a16:creationId xmlns:a16="http://schemas.microsoft.com/office/drawing/2014/main" id="{6274BE0F-E0C1-4CBE-9D33-B8C1E83FDD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942638" y="3679825"/>
            <a:ext cx="0" cy="3206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Line 52">
            <a:extLst>
              <a:ext uri="{FF2B5EF4-FFF2-40B4-BE49-F238E27FC236}">
                <a16:creationId xmlns:a16="http://schemas.microsoft.com/office/drawing/2014/main" id="{947D9787-E430-4090-B9BD-13A1D8C78D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96601" y="36798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Line 53">
            <a:extLst>
              <a:ext uri="{FF2B5EF4-FFF2-40B4-BE49-F238E27FC236}">
                <a16:creationId xmlns:a16="http://schemas.microsoft.com/office/drawing/2014/main" id="{E1749812-D999-42DA-8CC5-B408D789BF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96601" y="4000500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54">
            <a:extLst>
              <a:ext uri="{FF2B5EF4-FFF2-40B4-BE49-F238E27FC236}">
                <a16:creationId xmlns:a16="http://schemas.microsoft.com/office/drawing/2014/main" id="{E33D51B8-C875-40E2-93B3-82F021E062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092200"/>
            <a:ext cx="0" cy="423386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55">
            <a:extLst>
              <a:ext uri="{FF2B5EF4-FFF2-40B4-BE49-F238E27FC236}">
                <a16:creationId xmlns:a16="http://schemas.microsoft.com/office/drawing/2014/main" id="{51678527-E5A1-404E-A7B9-6050835CA8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1752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56">
            <a:extLst>
              <a:ext uri="{FF2B5EF4-FFF2-40B4-BE49-F238E27FC236}">
                <a16:creationId xmlns:a16="http://schemas.microsoft.com/office/drawing/2014/main" id="{A8598864-05B8-4908-93FF-9803AA706D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04348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Line 57">
            <a:extLst>
              <a:ext uri="{FF2B5EF4-FFF2-40B4-BE49-F238E27FC236}">
                <a16:creationId xmlns:a16="http://schemas.microsoft.com/office/drawing/2014/main" id="{DD14A163-CFD4-4D13-8C99-1ED979D3F7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6132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58">
            <a:extLst>
              <a:ext uri="{FF2B5EF4-FFF2-40B4-BE49-F238E27FC236}">
                <a16:creationId xmlns:a16="http://schemas.microsoft.com/office/drawing/2014/main" id="{0FAA2186-160F-44E1-A1A2-5D62FBAF0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479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Line 59">
            <a:extLst>
              <a:ext uri="{FF2B5EF4-FFF2-40B4-BE49-F238E27FC236}">
                <a16:creationId xmlns:a16="http://schemas.microsoft.com/office/drawing/2014/main" id="{6C6E1AE8-CCAF-4516-B389-59195E70BEC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0513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60">
            <a:extLst>
              <a:ext uri="{FF2B5EF4-FFF2-40B4-BE49-F238E27FC236}">
                <a16:creationId xmlns:a16="http://schemas.microsoft.com/office/drawing/2014/main" id="{836469E4-38DB-42B4-A6F5-68990074A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9179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Line 61">
            <a:extLst>
              <a:ext uri="{FF2B5EF4-FFF2-40B4-BE49-F238E27FC236}">
                <a16:creationId xmlns:a16="http://schemas.microsoft.com/office/drawing/2014/main" id="{31360B72-D19B-4BC0-A0D9-F16F3DFE865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877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62">
            <a:extLst>
              <a:ext uri="{FF2B5EF4-FFF2-40B4-BE49-F238E27FC236}">
                <a16:creationId xmlns:a16="http://schemas.microsoft.com/office/drawing/2014/main" id="{103685A0-0948-4045-81D1-F8BA8224B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559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63">
            <a:extLst>
              <a:ext uri="{FF2B5EF4-FFF2-40B4-BE49-F238E27FC236}">
                <a16:creationId xmlns:a16="http://schemas.microsoft.com/office/drawing/2014/main" id="{2DD61AB9-4A15-4150-BBC9-E8513CE586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92576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64">
            <a:extLst>
              <a:ext uri="{FF2B5EF4-FFF2-40B4-BE49-F238E27FC236}">
                <a16:creationId xmlns:a16="http://schemas.microsoft.com/office/drawing/2014/main" id="{D77E0BBD-646F-43F4-8C5C-18073BD4BE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7940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65">
            <a:extLst>
              <a:ext uri="{FF2B5EF4-FFF2-40B4-BE49-F238E27FC236}">
                <a16:creationId xmlns:a16="http://schemas.microsoft.com/office/drawing/2014/main" id="{70EFC1AA-BEA9-42DB-ABB2-0874AB7D1F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3685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Rectangle 66">
            <a:extLst>
              <a:ext uri="{FF2B5EF4-FFF2-40B4-BE49-F238E27FC236}">
                <a16:creationId xmlns:a16="http://schemas.microsoft.com/office/drawing/2014/main" id="{DE2B4D2F-557C-42C4-AE61-DAF9E38CB7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3043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3" name="Line 67">
            <a:extLst>
              <a:ext uri="{FF2B5EF4-FFF2-40B4-BE49-F238E27FC236}">
                <a16:creationId xmlns:a16="http://schemas.microsoft.com/office/drawing/2014/main" id="{955C0C2D-BD26-4C9B-B270-457AA2E46B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8065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Rectangle 68">
            <a:extLst>
              <a:ext uri="{FF2B5EF4-FFF2-40B4-BE49-F238E27FC236}">
                <a16:creationId xmlns:a16="http://schemas.microsoft.com/office/drawing/2014/main" id="{14EBF825-FCFB-4065-A48E-78B990D61D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6684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Line 69">
            <a:extLst>
              <a:ext uri="{FF2B5EF4-FFF2-40B4-BE49-F238E27FC236}">
                <a16:creationId xmlns:a16="http://schemas.microsoft.com/office/drawing/2014/main" id="{63DC97E2-0047-41BC-ACE7-A93D09E7C85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2430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Rectangle 71">
            <a:extLst>
              <a:ext uri="{FF2B5EF4-FFF2-40B4-BE49-F238E27FC236}">
                <a16:creationId xmlns:a16="http://schemas.microsoft.com/office/drawing/2014/main" id="{1E206322-D960-4C05-ADF2-6EF2B17A6A87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2971800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8" name="Line 72">
            <a:extLst>
              <a:ext uri="{FF2B5EF4-FFF2-40B4-BE49-F238E27FC236}">
                <a16:creationId xmlns:a16="http://schemas.microsoft.com/office/drawing/2014/main" id="{E4E1285A-6029-4710-BBF0-5A018A182E4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3260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Line 73">
            <a:extLst>
              <a:ext uri="{FF2B5EF4-FFF2-40B4-BE49-F238E27FC236}">
                <a16:creationId xmlns:a16="http://schemas.microsoft.com/office/drawing/2014/main" id="{F8E1CC95-1796-4448-B9E2-BFEF0ABD760C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Rectangle 74">
            <a:extLst>
              <a:ext uri="{FF2B5EF4-FFF2-40B4-BE49-F238E27FC236}">
                <a16:creationId xmlns:a16="http://schemas.microsoft.com/office/drawing/2014/main" id="{7B2801FC-2B85-4063-8B14-DBC5C4DE3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5838" y="5467350"/>
            <a:ext cx="8048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DC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Line 75">
            <a:extLst>
              <a:ext uri="{FF2B5EF4-FFF2-40B4-BE49-F238E27FC236}">
                <a16:creationId xmlns:a16="http://schemas.microsoft.com/office/drawing/2014/main" id="{88956EF6-8E5A-4D40-ABCA-B0DB3E11867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00576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Rectangle 76">
            <a:extLst>
              <a:ext uri="{FF2B5EF4-FFF2-40B4-BE49-F238E27FC236}">
                <a16:creationId xmlns:a16="http://schemas.microsoft.com/office/drawing/2014/main" id="{7A05D3B8-904E-4FDA-BD9F-3D3AA7B458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3851" y="5467350"/>
            <a:ext cx="10509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Hous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77">
            <a:extLst>
              <a:ext uri="{FF2B5EF4-FFF2-40B4-BE49-F238E27FC236}">
                <a16:creationId xmlns:a16="http://schemas.microsoft.com/office/drawing/2014/main" id="{38ABA7AE-8560-437C-A3FD-6BFEE7E3C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0826" y="5724525"/>
            <a:ext cx="11938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Vouche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78">
            <a:extLst>
              <a:ext uri="{FF2B5EF4-FFF2-40B4-BE49-F238E27FC236}">
                <a16:creationId xmlns:a16="http://schemas.microsoft.com/office/drawing/2014/main" id="{4ADA3515-FCA4-491D-B6CE-B980310F6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5975350"/>
            <a:ext cx="8048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DC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Line 79">
            <a:extLst>
              <a:ext uri="{FF2B5EF4-FFF2-40B4-BE49-F238E27FC236}">
                <a16:creationId xmlns:a16="http://schemas.microsoft.com/office/drawing/2014/main" id="{91A6B0EC-BA7D-4CDE-B342-B6EFF33BE20E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Rectangle 80">
            <a:extLst>
              <a:ext uri="{FF2B5EF4-FFF2-40B4-BE49-F238E27FC236}">
                <a16:creationId xmlns:a16="http://schemas.microsoft.com/office/drawing/2014/main" id="{A0D10593-287E-4BC3-A12A-36F52C2E16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5467350"/>
            <a:ext cx="10509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Hous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Rectangle 81">
            <a:extLst>
              <a:ext uri="{FF2B5EF4-FFF2-40B4-BE49-F238E27FC236}">
                <a16:creationId xmlns:a16="http://schemas.microsoft.com/office/drawing/2014/main" id="{7EF0A857-A6B1-454D-B191-C348C5704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9488" y="5724525"/>
            <a:ext cx="11938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Vouche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8" name="Rectangle 82">
            <a:extLst>
              <a:ext uri="{FF2B5EF4-FFF2-40B4-BE49-F238E27FC236}">
                <a16:creationId xmlns:a16="http://schemas.microsoft.com/office/drawing/2014/main" id="{09C2F3FA-A272-4935-BFD4-CA59A703FD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5975350"/>
            <a:ext cx="10509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hicag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Line 83">
            <a:extLst>
              <a:ext uri="{FF2B5EF4-FFF2-40B4-BE49-F238E27FC236}">
                <a16:creationId xmlns:a16="http://schemas.microsoft.com/office/drawing/2014/main" id="{F8A2B678-20A3-4DCB-B11D-D646EC55C625}"/>
              </a:ext>
            </a:extLst>
          </p:cNvPr>
          <p:cNvSpPr>
            <a:spLocks noChangeShapeType="1"/>
          </p:cNvSpPr>
          <p:nvPr/>
        </p:nvSpPr>
        <p:spPr bwMode="auto">
          <a:xfrm>
            <a:off x="8591551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Rectangle 84">
            <a:extLst>
              <a:ext uri="{FF2B5EF4-FFF2-40B4-BE49-F238E27FC236}">
                <a16:creationId xmlns:a16="http://schemas.microsoft.com/office/drawing/2014/main" id="{828AFE95-927E-444B-B47D-58F998041A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4663" y="5467350"/>
            <a:ext cx="1128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Negativ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85">
            <a:extLst>
              <a:ext uri="{FF2B5EF4-FFF2-40B4-BE49-F238E27FC236}">
                <a16:creationId xmlns:a16="http://schemas.microsoft.com/office/drawing/2014/main" id="{078D6111-DBE6-4FF6-9927-BF15FBBA6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5626" y="5724525"/>
            <a:ext cx="9509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Incom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Rectangle 86">
            <a:extLst>
              <a:ext uri="{FF2B5EF4-FFF2-40B4-BE49-F238E27FC236}">
                <a16:creationId xmlns:a16="http://schemas.microsoft.com/office/drawing/2014/main" id="{CE1E8654-6B80-4605-8D65-69BAF092BA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6763" y="5975350"/>
            <a:ext cx="5445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Line 87">
            <a:extLst>
              <a:ext uri="{FF2B5EF4-FFF2-40B4-BE49-F238E27FC236}">
                <a16:creationId xmlns:a16="http://schemas.microsoft.com/office/drawing/2014/main" id="{CB504126-AD85-47FB-8279-E3A60BFD722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590213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88">
            <a:extLst>
              <a:ext uri="{FF2B5EF4-FFF2-40B4-BE49-F238E27FC236}">
                <a16:creationId xmlns:a16="http://schemas.microsoft.com/office/drawing/2014/main" id="{C399C68F-716C-4D88-980C-FE47AC943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44151" y="5467350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IC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Rectangle 89">
            <a:extLst>
              <a:ext uri="{FF2B5EF4-FFF2-40B4-BE49-F238E27FC236}">
                <a16:creationId xmlns:a16="http://schemas.microsoft.com/office/drawing/2014/main" id="{5C68B3E6-76A3-43EA-9809-36BDE4B57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5723" y="1422401"/>
            <a:ext cx="2733675" cy="7778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94">
            <a:extLst>
              <a:ext uri="{FF2B5EF4-FFF2-40B4-BE49-F238E27FC236}">
                <a16:creationId xmlns:a16="http://schemas.microsoft.com/office/drawing/2014/main" id="{23EA637D-06AF-4A71-B196-65E83A4145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7B897789-5101-4D24-8516-68711AF81BBA}"/>
              </a:ext>
            </a:extLst>
          </p:cNvPr>
          <p:cNvGrpSpPr/>
          <p:nvPr/>
        </p:nvGrpSpPr>
        <p:grpSpPr>
          <a:xfrm>
            <a:off x="1395793" y="1118570"/>
            <a:ext cx="589755" cy="549276"/>
            <a:chOff x="1431926" y="1243012"/>
            <a:chExt cx="589755" cy="549276"/>
          </a:xfrm>
        </p:grpSpPr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CD068AB1-A9CB-43CE-8AB6-F165A19DD3EA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218" name="Rectangle 35">
                <a:extLst>
                  <a:ext uri="{FF2B5EF4-FFF2-40B4-BE49-F238E27FC236}">
                    <a16:creationId xmlns:a16="http://schemas.microsoft.com/office/drawing/2014/main" id="{A769C479-02C9-484F-8C37-35F88D0DB7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A1906C51-BB30-45D7-A01D-DB037F6C186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0B991E6C-D39C-4A92-BA06-62649E350265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AECD9A07-2FDA-4D6D-AC8E-D993968AAE74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690F2A29-478B-4A1D-83EF-FB9AA29854AC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AB0A1326-7D36-4863-919E-BECC8836ED41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0" name="Rectangle 90">
            <a:extLst>
              <a:ext uri="{FF2B5EF4-FFF2-40B4-BE49-F238E27FC236}">
                <a16:creationId xmlns:a16="http://schemas.microsoft.com/office/drawing/2014/main" id="{CEF574A4-F9C8-44B8-82A9-7245D89AD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4590" y="1490392"/>
            <a:ext cx="892175" cy="2365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91">
            <a:extLst>
              <a:ext uri="{FF2B5EF4-FFF2-40B4-BE49-F238E27FC236}">
                <a16:creationId xmlns:a16="http://schemas.microsoft.com/office/drawing/2014/main" id="{D7D46260-4BDF-4026-86CE-B30B60357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4590" y="1823767"/>
            <a:ext cx="892175" cy="23812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Rectangle 92">
            <a:extLst>
              <a:ext uri="{FF2B5EF4-FFF2-40B4-BE49-F238E27FC236}">
                <a16:creationId xmlns:a16="http://schemas.microsoft.com/office/drawing/2014/main" id="{C6EDAC86-4D05-4BE3-9671-D08EDA101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2815" y="1512617"/>
            <a:ext cx="14493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No Kid Impac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Rectangle 93">
            <a:extLst>
              <a:ext uri="{FF2B5EF4-FFF2-40B4-BE49-F238E27FC236}">
                <a16:creationId xmlns:a16="http://schemas.microsoft.com/office/drawing/2014/main" id="{E1E5B933-6CDF-4495-B0C9-A1C76725D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2815" y="1845992"/>
            <a:ext cx="16049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ith Kid Impac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3869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ITC OBRA 1993 MVPF Estim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ing Different Estimates of Spillovers on Childre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5ED9CCE-9D52-4E3D-95FB-4973A92A521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2B97B8-2399-49FB-BE21-94F8D65FD0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233863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504D146E-5716-4114-8E06-AAB9F0556D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3133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BD789B40-A104-4DEE-8B1D-22B56E4293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7498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72935483-5CEA-4C41-ADAA-A7CC875D1C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1878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E3DE8CC3-4077-4A8B-AC73-FCA56D079E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625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5460BD5-7D01-4224-9A7B-0CCBCB8E87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0638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86FF8BFC-661D-4EB7-B7F9-FCEEAFADC17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050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146F9B4C-6ACA-4D93-ACCF-F0C4AEF7DC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431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59D29ED2-7BDB-4E95-89D2-9DE1D5041A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10AB43C5-C065-4983-800E-AF8BD95766C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1B5934-8A66-4346-8795-20EB90454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4124325"/>
            <a:ext cx="508000" cy="62547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A94C39-31E8-4EF2-9B02-481AE08AE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4124325"/>
            <a:ext cx="508000" cy="62547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258132-DC7C-453E-9D42-628BCC4ED7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5476" y="1381125"/>
            <a:ext cx="508000" cy="33686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5A1A93A-349E-445D-A4A0-8BCF718102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0238" y="1381125"/>
            <a:ext cx="506413" cy="33686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D6558A2-88BE-45B6-9035-AEAF95FDE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3209925"/>
            <a:ext cx="508000" cy="15398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63FC13E-1A56-4030-A035-0574C7C0F1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5476" y="1943100"/>
            <a:ext cx="506413" cy="2806700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F52565-B875-43B3-8922-8E096A2A7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301" y="1381125"/>
            <a:ext cx="508000" cy="33686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C49ED8-D476-4C5D-B0C3-6CF9084B1F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251325"/>
            <a:ext cx="508000" cy="4984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0B6E58-D14C-4E1C-8C91-A8A631695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7063" y="4219575"/>
            <a:ext cx="508000" cy="53022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CD292F22-D1E8-462A-91EF-D42729322C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54238" y="4068763"/>
            <a:ext cx="0" cy="2190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B20549A7-4EB9-4D8E-9208-ABFA94B494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0687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DF6191AC-D3CB-47F6-996D-92FB2D7CDC0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287838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132F913F-0659-4136-97FF-952A44846D9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54238" y="4068763"/>
            <a:ext cx="0" cy="2190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2A60F235-2DEE-45CC-B117-E82668716A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0687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31">
            <a:extLst>
              <a:ext uri="{FF2B5EF4-FFF2-40B4-BE49-F238E27FC236}">
                <a16:creationId xmlns:a16="http://schemas.microsoft.com/office/drawing/2014/main" id="{E5215E48-7294-4D76-8F74-AE986A365F1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287838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Line 32">
            <a:extLst>
              <a:ext uri="{FF2B5EF4-FFF2-40B4-BE49-F238E27FC236}">
                <a16:creationId xmlns:a16="http://schemas.microsoft.com/office/drawing/2014/main" id="{242559D7-34AF-4D3F-B1FB-89FDFB02B7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67888" y="1381125"/>
            <a:ext cx="0" cy="5619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Line 33">
            <a:extLst>
              <a:ext uri="{FF2B5EF4-FFF2-40B4-BE49-F238E27FC236}">
                <a16:creationId xmlns:a16="http://schemas.microsoft.com/office/drawing/2014/main" id="{60A8DE3F-5823-416B-8A28-B86A50AAABE8}"/>
              </a:ext>
            </a:extLst>
          </p:cNvPr>
          <p:cNvSpPr>
            <a:spLocks noChangeShapeType="1"/>
          </p:cNvSpPr>
          <p:nvPr/>
        </p:nvSpPr>
        <p:spPr bwMode="auto">
          <a:xfrm>
            <a:off x="9726613" y="138112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34">
            <a:extLst>
              <a:ext uri="{FF2B5EF4-FFF2-40B4-BE49-F238E27FC236}">
                <a16:creationId xmlns:a16="http://schemas.microsoft.com/office/drawing/2014/main" id="{B43853AF-6073-409F-B803-A24F89CCE9C6}"/>
              </a:ext>
            </a:extLst>
          </p:cNvPr>
          <p:cNvSpPr>
            <a:spLocks noChangeShapeType="1"/>
          </p:cNvSpPr>
          <p:nvPr/>
        </p:nvSpPr>
        <p:spPr bwMode="auto">
          <a:xfrm>
            <a:off x="9726613" y="1943100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35">
            <a:extLst>
              <a:ext uri="{FF2B5EF4-FFF2-40B4-BE49-F238E27FC236}">
                <a16:creationId xmlns:a16="http://schemas.microsoft.com/office/drawing/2014/main" id="{EB0BF6D6-C94D-48D5-B78F-2ADC85EA369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25826" y="1381125"/>
            <a:ext cx="0" cy="393223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Line 36">
            <a:extLst>
              <a:ext uri="{FF2B5EF4-FFF2-40B4-BE49-F238E27FC236}">
                <a16:creationId xmlns:a16="http://schemas.microsoft.com/office/drawing/2014/main" id="{F247A063-43B1-4393-AD41-519FCD0513AD}"/>
              </a:ext>
            </a:extLst>
          </p:cNvPr>
          <p:cNvSpPr>
            <a:spLocks noChangeShapeType="1"/>
          </p:cNvSpPr>
          <p:nvPr/>
        </p:nvSpPr>
        <p:spPr bwMode="auto">
          <a:xfrm>
            <a:off x="3379788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Line 37">
            <a:extLst>
              <a:ext uri="{FF2B5EF4-FFF2-40B4-BE49-F238E27FC236}">
                <a16:creationId xmlns:a16="http://schemas.microsoft.com/office/drawing/2014/main" id="{FD23D89A-9A92-4982-B6F3-55C380CFE613}"/>
              </a:ext>
            </a:extLst>
          </p:cNvPr>
          <p:cNvSpPr>
            <a:spLocks noChangeShapeType="1"/>
          </p:cNvSpPr>
          <p:nvPr/>
        </p:nvSpPr>
        <p:spPr bwMode="auto">
          <a:xfrm>
            <a:off x="3379788" y="53133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Line 38">
            <a:extLst>
              <a:ext uri="{FF2B5EF4-FFF2-40B4-BE49-F238E27FC236}">
                <a16:creationId xmlns:a16="http://schemas.microsoft.com/office/drawing/2014/main" id="{4A907C8A-7234-42F8-ACEE-EF7C7E150D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2651" y="1943100"/>
            <a:ext cx="0" cy="3370263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Line 39">
            <a:extLst>
              <a:ext uri="{FF2B5EF4-FFF2-40B4-BE49-F238E27FC236}">
                <a16:creationId xmlns:a16="http://schemas.microsoft.com/office/drawing/2014/main" id="{D4D398D5-E112-4DC3-BA8A-78AC083CA411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1376" y="1943100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Line 40">
            <a:extLst>
              <a:ext uri="{FF2B5EF4-FFF2-40B4-BE49-F238E27FC236}">
                <a16:creationId xmlns:a16="http://schemas.microsoft.com/office/drawing/2014/main" id="{AE48657C-0893-4C68-8BE5-57244D46ED32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1376" y="53133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41">
            <a:extLst>
              <a:ext uri="{FF2B5EF4-FFF2-40B4-BE49-F238E27FC236}">
                <a16:creationId xmlns:a16="http://schemas.microsoft.com/office/drawing/2014/main" id="{72B4E743-97B1-451B-AFB8-07A9ED0A5B5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01063" y="1381125"/>
            <a:ext cx="0" cy="15906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42">
            <a:extLst>
              <a:ext uri="{FF2B5EF4-FFF2-40B4-BE49-F238E27FC236}">
                <a16:creationId xmlns:a16="http://schemas.microsoft.com/office/drawing/2014/main" id="{0AB64E35-6D57-4936-8B35-DCBD58D1C34C}"/>
              </a:ext>
            </a:extLst>
          </p:cNvPr>
          <p:cNvSpPr>
            <a:spLocks noChangeShapeType="1"/>
          </p:cNvSpPr>
          <p:nvPr/>
        </p:nvSpPr>
        <p:spPr bwMode="auto">
          <a:xfrm>
            <a:off x="8455026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43">
            <a:extLst>
              <a:ext uri="{FF2B5EF4-FFF2-40B4-BE49-F238E27FC236}">
                <a16:creationId xmlns:a16="http://schemas.microsoft.com/office/drawing/2014/main" id="{082483D6-1A53-4CB2-83AC-FA595A0E192D}"/>
              </a:ext>
            </a:extLst>
          </p:cNvPr>
          <p:cNvSpPr>
            <a:spLocks noChangeShapeType="1"/>
          </p:cNvSpPr>
          <p:nvPr/>
        </p:nvSpPr>
        <p:spPr bwMode="auto">
          <a:xfrm>
            <a:off x="8455026" y="2971800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44">
            <a:extLst>
              <a:ext uri="{FF2B5EF4-FFF2-40B4-BE49-F238E27FC236}">
                <a16:creationId xmlns:a16="http://schemas.microsoft.com/office/drawing/2014/main" id="{06EB69FD-9F37-4F01-B63A-9ED2C4D20D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37888" y="1381125"/>
            <a:ext cx="0" cy="157638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45">
            <a:extLst>
              <a:ext uri="{FF2B5EF4-FFF2-40B4-BE49-F238E27FC236}">
                <a16:creationId xmlns:a16="http://schemas.microsoft.com/office/drawing/2014/main" id="{59CB1748-BDA4-485F-88C1-E74854F29BD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91851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46">
            <a:extLst>
              <a:ext uri="{FF2B5EF4-FFF2-40B4-BE49-F238E27FC236}">
                <a16:creationId xmlns:a16="http://schemas.microsoft.com/office/drawing/2014/main" id="{FDB2BC54-44F4-4709-A4EC-240829EFBDB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91851" y="2957512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7">
            <a:extLst>
              <a:ext uri="{FF2B5EF4-FFF2-40B4-BE49-F238E27FC236}">
                <a16:creationId xmlns:a16="http://schemas.microsoft.com/office/drawing/2014/main" id="{6D5DF802-117F-408A-B1DB-6A1ED613303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229476" y="1381125"/>
            <a:ext cx="0" cy="393223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8">
            <a:extLst>
              <a:ext uri="{FF2B5EF4-FFF2-40B4-BE49-F238E27FC236}">
                <a16:creationId xmlns:a16="http://schemas.microsoft.com/office/drawing/2014/main" id="{AA7C5177-4275-4BCD-953A-B062EFFCFA39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8201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49">
            <a:extLst>
              <a:ext uri="{FF2B5EF4-FFF2-40B4-BE49-F238E27FC236}">
                <a16:creationId xmlns:a16="http://schemas.microsoft.com/office/drawing/2014/main" id="{A9066359-A0B2-4D23-8662-8FE0E238179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8201" y="53133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Line 50">
            <a:extLst>
              <a:ext uri="{FF2B5EF4-FFF2-40B4-BE49-F238E27FC236}">
                <a16:creationId xmlns:a16="http://schemas.microsoft.com/office/drawing/2014/main" id="{17341350-AD2D-4664-A789-3C19E833069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62651" y="4119563"/>
            <a:ext cx="0" cy="20478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51">
            <a:extLst>
              <a:ext uri="{FF2B5EF4-FFF2-40B4-BE49-F238E27FC236}">
                <a16:creationId xmlns:a16="http://schemas.microsoft.com/office/drawing/2014/main" id="{7A97931E-257B-4EC6-B069-BD2DE7E707E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18201" y="41195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52">
            <a:extLst>
              <a:ext uri="{FF2B5EF4-FFF2-40B4-BE49-F238E27FC236}">
                <a16:creationId xmlns:a16="http://schemas.microsoft.com/office/drawing/2014/main" id="{8BA24016-DF86-4EAD-8E9C-2751642FEE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918201" y="4324350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53">
            <a:extLst>
              <a:ext uri="{FF2B5EF4-FFF2-40B4-BE49-F238E27FC236}">
                <a16:creationId xmlns:a16="http://schemas.microsoft.com/office/drawing/2014/main" id="{4A9D3AD4-716D-48D7-89F4-998FF7F8D5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23386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54">
            <a:extLst>
              <a:ext uri="{FF2B5EF4-FFF2-40B4-BE49-F238E27FC236}">
                <a16:creationId xmlns:a16="http://schemas.microsoft.com/office/drawing/2014/main" id="{E64BCE60-47E0-4567-8E80-70B11DD4FE0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3133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Rectangle 55">
            <a:extLst>
              <a:ext uri="{FF2B5EF4-FFF2-40B4-BE49-F238E27FC236}">
                <a16:creationId xmlns:a16="http://schemas.microsoft.com/office/drawing/2014/main" id="{00DEA021-F893-484C-962B-E304D5F61F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180013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2" name="Line 56">
            <a:extLst>
              <a:ext uri="{FF2B5EF4-FFF2-40B4-BE49-F238E27FC236}">
                <a16:creationId xmlns:a16="http://schemas.microsoft.com/office/drawing/2014/main" id="{22A84A74-38C5-41CB-8B58-825872E5A0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7498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Rectangle 57">
            <a:extLst>
              <a:ext uri="{FF2B5EF4-FFF2-40B4-BE49-F238E27FC236}">
                <a16:creationId xmlns:a16="http://schemas.microsoft.com/office/drawing/2014/main" id="{B626EBC2-D476-445F-83D1-E32EF4AEE3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61803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4" name="Line 58">
            <a:extLst>
              <a:ext uri="{FF2B5EF4-FFF2-40B4-BE49-F238E27FC236}">
                <a16:creationId xmlns:a16="http://schemas.microsoft.com/office/drawing/2014/main" id="{20B87AF6-8366-4A2C-A28C-288DD57250D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1878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Rectangle 59">
            <a:extLst>
              <a:ext uri="{FF2B5EF4-FFF2-40B4-BE49-F238E27FC236}">
                <a16:creationId xmlns:a16="http://schemas.microsoft.com/office/drawing/2014/main" id="{B9EB3560-86AE-4FB7-BC6D-89ED92112E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0560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6" name="Line 60">
            <a:extLst>
              <a:ext uri="{FF2B5EF4-FFF2-40B4-BE49-F238E27FC236}">
                <a16:creationId xmlns:a16="http://schemas.microsoft.com/office/drawing/2014/main" id="{740DC98C-C598-4993-8873-10F623722C1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625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Rectangle 61">
            <a:extLst>
              <a:ext uri="{FF2B5EF4-FFF2-40B4-BE49-F238E27FC236}">
                <a16:creationId xmlns:a16="http://schemas.microsoft.com/office/drawing/2014/main" id="{44A589E2-DD76-4CBD-8F37-CC186D585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4925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0" name="Line 62">
            <a:extLst>
              <a:ext uri="{FF2B5EF4-FFF2-40B4-BE49-F238E27FC236}">
                <a16:creationId xmlns:a16="http://schemas.microsoft.com/office/drawing/2014/main" id="{5FD88B7B-C3BC-4AEE-B7D6-47A4492E7AF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0638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Rectangle 63">
            <a:extLst>
              <a:ext uri="{FF2B5EF4-FFF2-40B4-BE49-F238E27FC236}">
                <a16:creationId xmlns:a16="http://schemas.microsoft.com/office/drawing/2014/main" id="{C5363EB6-C342-40E3-A67B-D9B6F210F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930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2" name="Line 64">
            <a:extLst>
              <a:ext uri="{FF2B5EF4-FFF2-40B4-BE49-F238E27FC236}">
                <a16:creationId xmlns:a16="http://schemas.microsoft.com/office/drawing/2014/main" id="{C47F6126-D268-470E-B651-A0BC724F7E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050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Rectangle 65">
            <a:extLst>
              <a:ext uri="{FF2B5EF4-FFF2-40B4-BE49-F238E27FC236}">
                <a16:creationId xmlns:a16="http://schemas.microsoft.com/office/drawing/2014/main" id="{F5248614-79B2-4E7C-A69D-2D6F8A580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36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2" name="Line 66">
            <a:extLst>
              <a:ext uri="{FF2B5EF4-FFF2-40B4-BE49-F238E27FC236}">
                <a16:creationId xmlns:a16="http://schemas.microsoft.com/office/drawing/2014/main" id="{AD732BA9-5937-4724-AF4F-721E5490D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431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Rectangle 67">
            <a:extLst>
              <a:ext uri="{FF2B5EF4-FFF2-40B4-BE49-F238E27FC236}">
                <a16:creationId xmlns:a16="http://schemas.microsoft.com/office/drawing/2014/main" id="{7F765DEE-1F69-420D-8C66-E50F57AAC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06575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4" name="Line 68">
            <a:extLst>
              <a:ext uri="{FF2B5EF4-FFF2-40B4-BE49-F238E27FC236}">
                <a16:creationId xmlns:a16="http://schemas.microsoft.com/office/drawing/2014/main" id="{C4AD4949-2C9A-47B4-8223-80E6610DF8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Rectangle 70">
            <a:extLst>
              <a:ext uri="{FF2B5EF4-FFF2-40B4-BE49-F238E27FC236}">
                <a16:creationId xmlns:a16="http://schemas.microsoft.com/office/drawing/2014/main" id="{E2B68E61-B18A-426A-8AE9-C95E0EFB71D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108325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7" name="Line 71">
            <a:extLst>
              <a:ext uri="{FF2B5EF4-FFF2-40B4-BE49-F238E27FC236}">
                <a16:creationId xmlns:a16="http://schemas.microsoft.com/office/drawing/2014/main" id="{0FB42DE5-BFDB-4D99-9AB0-674874034D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464175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Line 72">
            <a:extLst>
              <a:ext uri="{FF2B5EF4-FFF2-40B4-BE49-F238E27FC236}">
                <a16:creationId xmlns:a16="http://schemas.microsoft.com/office/drawing/2014/main" id="{A307EAAB-DCF1-4896-AC5E-63CC3120A34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54238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Rectangle 73">
            <a:extLst>
              <a:ext uri="{FF2B5EF4-FFF2-40B4-BE49-F238E27FC236}">
                <a16:creationId xmlns:a16="http://schemas.microsoft.com/office/drawing/2014/main" id="{48C70250-2024-4E1B-965B-57CC7E7F1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6763" y="5605463"/>
            <a:ext cx="3429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N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Rectangle 74">
            <a:extLst>
              <a:ext uri="{FF2B5EF4-FFF2-40B4-BE49-F238E27FC236}">
                <a16:creationId xmlns:a16="http://schemas.microsoft.com/office/drawing/2014/main" id="{F75CD591-CC64-4116-BEA4-54FF2C2C3D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797550"/>
            <a:ext cx="695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Impac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Line 75">
            <a:extLst>
              <a:ext uri="{FF2B5EF4-FFF2-40B4-BE49-F238E27FC236}">
                <a16:creationId xmlns:a16="http://schemas.microsoft.com/office/drawing/2014/main" id="{B281A89D-B2EB-4389-A87B-39DDB6F5BA15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Rectangle 76">
            <a:extLst>
              <a:ext uri="{FF2B5EF4-FFF2-40B4-BE49-F238E27FC236}">
                <a16:creationId xmlns:a16="http://schemas.microsoft.com/office/drawing/2014/main" id="{475E3596-33A0-40C6-8377-107178B3B3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2588" y="5605463"/>
            <a:ext cx="1133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Bastian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77">
            <a:extLst>
              <a:ext uri="{FF2B5EF4-FFF2-40B4-BE49-F238E27FC236}">
                <a16:creationId xmlns:a16="http://schemas.microsoft.com/office/drawing/2014/main" id="{52BF1E51-A37E-4359-9736-F9E5924FE9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7351" y="5797550"/>
            <a:ext cx="11287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ichelmo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78">
            <a:extLst>
              <a:ext uri="{FF2B5EF4-FFF2-40B4-BE49-F238E27FC236}">
                <a16:creationId xmlns:a16="http://schemas.microsoft.com/office/drawing/2014/main" id="{A587292F-A7F5-4A79-9DB8-DF7EBDF811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5989638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Rectangle 79">
            <a:extLst>
              <a:ext uri="{FF2B5EF4-FFF2-40B4-BE49-F238E27FC236}">
                <a16:creationId xmlns:a16="http://schemas.microsoft.com/office/drawing/2014/main" id="{06EDF5F1-E616-4746-89B9-6DCB1B9A17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5613" y="6176963"/>
            <a:ext cx="9874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Earning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6" name="Line 80">
            <a:extLst>
              <a:ext uri="{FF2B5EF4-FFF2-40B4-BE49-F238E27FC236}">
                <a16:creationId xmlns:a16="http://schemas.microsoft.com/office/drawing/2014/main" id="{1F79715E-951A-407E-9BC2-6E0468A6B133}"/>
              </a:ext>
            </a:extLst>
          </p:cNvPr>
          <p:cNvSpPr>
            <a:spLocks noChangeShapeType="1"/>
          </p:cNvSpPr>
          <p:nvPr/>
        </p:nvSpPr>
        <p:spPr bwMode="auto">
          <a:xfrm>
            <a:off x="8501063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Rectangle 81">
            <a:extLst>
              <a:ext uri="{FF2B5EF4-FFF2-40B4-BE49-F238E27FC236}">
                <a16:creationId xmlns:a16="http://schemas.microsoft.com/office/drawing/2014/main" id="{1F2F072B-6D54-4F15-90A8-DFF317A674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6888" y="5605463"/>
            <a:ext cx="8826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Dahl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8" name="Rectangle 82">
            <a:extLst>
              <a:ext uri="{FF2B5EF4-FFF2-40B4-BE49-F238E27FC236}">
                <a16:creationId xmlns:a16="http://schemas.microsoft.com/office/drawing/2014/main" id="{E2D60066-A155-44D5-9A53-A4E728A2B8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8163" y="5797550"/>
            <a:ext cx="804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Lochne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Rectangle 83">
            <a:extLst>
              <a:ext uri="{FF2B5EF4-FFF2-40B4-BE49-F238E27FC236}">
                <a16:creationId xmlns:a16="http://schemas.microsoft.com/office/drawing/2014/main" id="{BCF4D7B1-E1DE-4D1B-A5B2-DB3C0E4F7C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6426" y="5989638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Rectangle 84">
            <a:extLst>
              <a:ext uri="{FF2B5EF4-FFF2-40B4-BE49-F238E27FC236}">
                <a16:creationId xmlns:a16="http://schemas.microsoft.com/office/drawing/2014/main" id="{D616D9EA-5803-4517-9FC3-7C1B5D2664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6551" y="6176963"/>
            <a:ext cx="12255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Test score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Line 85">
            <a:extLst>
              <a:ext uri="{FF2B5EF4-FFF2-40B4-BE49-F238E27FC236}">
                <a16:creationId xmlns:a16="http://schemas.microsoft.com/office/drawing/2014/main" id="{6955232C-2126-482D-BCC6-F33578AE047D}"/>
              </a:ext>
            </a:extLst>
          </p:cNvPr>
          <p:cNvSpPr>
            <a:spLocks noChangeShapeType="1"/>
          </p:cNvSpPr>
          <p:nvPr/>
        </p:nvSpPr>
        <p:spPr bwMode="auto">
          <a:xfrm>
            <a:off x="9767888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4" name="Rectangle 86">
            <a:extLst>
              <a:ext uri="{FF2B5EF4-FFF2-40B4-BE49-F238E27FC236}">
                <a16:creationId xmlns:a16="http://schemas.microsoft.com/office/drawing/2014/main" id="{E6F7C9C7-9282-4967-AFE5-443D4C3C94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1038" y="5605463"/>
            <a:ext cx="5032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F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5" name="Rectangle 87">
            <a:extLst>
              <a:ext uri="{FF2B5EF4-FFF2-40B4-BE49-F238E27FC236}">
                <a16:creationId xmlns:a16="http://schemas.microsoft.com/office/drawing/2014/main" id="{4DD08C02-72F0-47E3-AE73-A5323CBE6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3251" y="5797550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1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6" name="Rectangle 88">
            <a:extLst>
              <a:ext uri="{FF2B5EF4-FFF2-40B4-BE49-F238E27FC236}">
                <a16:creationId xmlns:a16="http://schemas.microsoft.com/office/drawing/2014/main" id="{BD90C637-37BE-460C-98F0-F305E65D8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3376" y="5989638"/>
            <a:ext cx="12255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Test score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7" name="Line 89">
            <a:extLst>
              <a:ext uri="{FF2B5EF4-FFF2-40B4-BE49-F238E27FC236}">
                <a16:creationId xmlns:a16="http://schemas.microsoft.com/office/drawing/2014/main" id="{39A3BD93-697A-4A61-A03C-3EB27FEA4DC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8" name="Rectangle 90">
            <a:extLst>
              <a:ext uri="{FF2B5EF4-FFF2-40B4-BE49-F238E27FC236}">
                <a16:creationId xmlns:a16="http://schemas.microsoft.com/office/drawing/2014/main" id="{B03A607D-4F60-412A-8E77-40F3C5F3E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2763" y="5605463"/>
            <a:ext cx="8366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axfie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9" name="Rectangle 91">
            <a:extLst>
              <a:ext uri="{FF2B5EF4-FFF2-40B4-BE49-F238E27FC236}">
                <a16:creationId xmlns:a16="http://schemas.microsoft.com/office/drawing/2014/main" id="{BAF8B560-CB63-4E9E-82E1-96C4F8AB3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3251" y="5797550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3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0" name="Rectangle 92">
            <a:extLst>
              <a:ext uri="{FF2B5EF4-FFF2-40B4-BE49-F238E27FC236}">
                <a16:creationId xmlns:a16="http://schemas.microsoft.com/office/drawing/2014/main" id="{399D44F6-0F15-4960-BF08-0BD5B378EC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94963" y="5989638"/>
            <a:ext cx="12255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Test score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1" name="Line 93">
            <a:extLst>
              <a:ext uri="{FF2B5EF4-FFF2-40B4-BE49-F238E27FC236}">
                <a16:creationId xmlns:a16="http://schemas.microsoft.com/office/drawing/2014/main" id="{229516F7-64F0-4006-9591-A25A79E22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29476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2" name="Rectangle 94">
            <a:extLst>
              <a:ext uri="{FF2B5EF4-FFF2-40B4-BE49-F238E27FC236}">
                <a16:creationId xmlns:a16="http://schemas.microsoft.com/office/drawing/2014/main" id="{AB6E5E50-B202-4509-B139-1131F3CBA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2751" y="5605463"/>
            <a:ext cx="10604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anoli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3" name="Rectangle 95">
            <a:extLst>
              <a:ext uri="{FF2B5EF4-FFF2-40B4-BE49-F238E27FC236}">
                <a16:creationId xmlns:a16="http://schemas.microsoft.com/office/drawing/2014/main" id="{62B404AB-505F-49B5-9BF3-C937C2A22C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8451" y="5797550"/>
            <a:ext cx="13033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urner 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4" name="Rectangle 96">
            <a:extLst>
              <a:ext uri="{FF2B5EF4-FFF2-40B4-BE49-F238E27FC236}">
                <a16:creationId xmlns:a16="http://schemas.microsoft.com/office/drawing/2014/main" id="{60B0D985-C700-492A-AE1E-876AB4824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063" y="5989638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College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5" name="Line 97">
            <a:extLst>
              <a:ext uri="{FF2B5EF4-FFF2-40B4-BE49-F238E27FC236}">
                <a16:creationId xmlns:a16="http://schemas.microsoft.com/office/drawing/2014/main" id="{6A5A4747-9269-4A6D-BFBB-4D5CD6677AD2}"/>
              </a:ext>
            </a:extLst>
          </p:cNvPr>
          <p:cNvSpPr>
            <a:spLocks noChangeShapeType="1"/>
          </p:cNvSpPr>
          <p:nvPr/>
        </p:nvSpPr>
        <p:spPr bwMode="auto">
          <a:xfrm>
            <a:off x="5962651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6" name="Rectangle 98">
            <a:extLst>
              <a:ext uri="{FF2B5EF4-FFF2-40B4-BE49-F238E27FC236}">
                <a16:creationId xmlns:a16="http://schemas.microsoft.com/office/drawing/2014/main" id="{4083D514-9844-4CB8-9713-0EB2AE270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5605463"/>
            <a:ext cx="11287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ichelmo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7" name="Rectangle 99">
            <a:extLst>
              <a:ext uri="{FF2B5EF4-FFF2-40B4-BE49-F238E27FC236}">
                <a16:creationId xmlns:a16="http://schemas.microsoft.com/office/drawing/2014/main" id="{747E1EE7-D236-449D-B3C3-9299DD0A7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5797550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8" name="Rectangle 100">
            <a:extLst>
              <a:ext uri="{FF2B5EF4-FFF2-40B4-BE49-F238E27FC236}">
                <a16:creationId xmlns:a16="http://schemas.microsoft.com/office/drawing/2014/main" id="{6EB713E3-0827-4B3B-8586-F6E34847F5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3238" y="5989638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College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9" name="Line 101">
            <a:extLst>
              <a:ext uri="{FF2B5EF4-FFF2-40B4-BE49-F238E27FC236}">
                <a16:creationId xmlns:a16="http://schemas.microsoft.com/office/drawing/2014/main" id="{FD5B7BAA-5B3F-40F7-B999-DA11A2500522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2651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0" name="Rectangle 102">
            <a:extLst>
              <a:ext uri="{FF2B5EF4-FFF2-40B4-BE49-F238E27FC236}">
                <a16:creationId xmlns:a16="http://schemas.microsoft.com/office/drawing/2014/main" id="{3272FE6E-3ABC-4EA8-BCB1-5824180AB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9413" y="5605463"/>
            <a:ext cx="1133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Bastian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1" name="Rectangle 103">
            <a:extLst>
              <a:ext uri="{FF2B5EF4-FFF2-40B4-BE49-F238E27FC236}">
                <a16:creationId xmlns:a16="http://schemas.microsoft.com/office/drawing/2014/main" id="{CCBB318D-CAF4-43E7-98AD-3DACCE4016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176" y="5797550"/>
            <a:ext cx="11287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ichelmo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2" name="Rectangle 104">
            <a:extLst>
              <a:ext uri="{FF2B5EF4-FFF2-40B4-BE49-F238E27FC236}">
                <a16:creationId xmlns:a16="http://schemas.microsoft.com/office/drawing/2014/main" id="{8F7DCE10-3540-4AE0-8031-C0B693822F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8013" y="5989638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3" name="Rectangle 105">
            <a:extLst>
              <a:ext uri="{FF2B5EF4-FFF2-40B4-BE49-F238E27FC236}">
                <a16:creationId xmlns:a16="http://schemas.microsoft.com/office/drawing/2014/main" id="{88A4FF74-1DC5-4B5F-9AC7-4F1EE04B7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3238" y="6176963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College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4" name="Rectangle 106">
            <a:extLst>
              <a:ext uri="{FF2B5EF4-FFF2-40B4-BE49-F238E27FC236}">
                <a16:creationId xmlns:a16="http://schemas.microsoft.com/office/drawing/2014/main" id="{5FEC0029-E05E-4907-A2C3-0AA520D1C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F469EC38-90D4-4696-A762-D5E6F4D1DC2D}"/>
              </a:ext>
            </a:extLst>
          </p:cNvPr>
          <p:cNvGrpSpPr/>
          <p:nvPr/>
        </p:nvGrpSpPr>
        <p:grpSpPr>
          <a:xfrm>
            <a:off x="1433119" y="1242217"/>
            <a:ext cx="589755" cy="549276"/>
            <a:chOff x="1431926" y="1243012"/>
            <a:chExt cx="589755" cy="549276"/>
          </a:xfrm>
        </p:grpSpPr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1E6F22DE-D1EF-4800-808B-137DD5A8E3A7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230" name="Rectangle 35">
                <a:extLst>
                  <a:ext uri="{FF2B5EF4-FFF2-40B4-BE49-F238E27FC236}">
                    <a16:creationId xmlns:a16="http://schemas.microsoft.com/office/drawing/2014/main" id="{21468ED0-ED75-4791-8B2D-DFEFF70821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A4BD5FFC-BFD6-4D00-AA4A-190F07CD54F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99098A50-3CF6-4F6B-AEDD-6BFA0329F6E9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B51D62AD-A369-4562-BDA3-C257952ED550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B77334A3-954E-4BE5-9146-F3F5BE67D410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CAAF706A-3AE6-4CBE-8B8E-B8245EE26CBA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93135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EITC Papers</a:t>
            </a:r>
          </a:p>
        </p:txBody>
      </p:sp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1BFACB5D-683E-4F48-B235-AADE36020F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" y="396240"/>
            <a:ext cx="11992520" cy="605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0203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8AA419E3-0B95-5346-8FFB-2745F14F35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924" y="0"/>
            <a:ext cx="85401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194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5C29570-D059-7349-889A-228E92F4E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" y="1079500"/>
            <a:ext cx="10617200" cy="469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9450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44B471C-3998-B745-96DF-FFC47786EB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262" y="2117558"/>
            <a:ext cx="10498035" cy="2216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6612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document&#10;&#10;Description automatically generated with medium confidence">
            <a:extLst>
              <a:ext uri="{FF2B5EF4-FFF2-40B4-BE49-F238E27FC236}">
                <a16:creationId xmlns:a16="http://schemas.microsoft.com/office/drawing/2014/main" id="{8A90D40F-F225-1148-8BBF-82C9264AFF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83" y="351923"/>
            <a:ext cx="10924675" cy="614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3923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A249F247-D95D-2C4D-B7FC-F45B0BE1F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0" y="869950"/>
            <a:ext cx="10769600" cy="511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483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095C5C1-375B-7745-8FE7-8A285F1C22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393700"/>
            <a:ext cx="9906000" cy="607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29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0F9B9838-93D1-C54E-9C85-702891C791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100" y="349250"/>
            <a:ext cx="9829800" cy="615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258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Tax Complianc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70C7B27-A3BC-2241-8AEA-B777E03C3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This deserves a much longer lecture</a:t>
            </a:r>
          </a:p>
          <a:p>
            <a:endParaRPr lang="en-US" dirty="0"/>
          </a:p>
          <a:p>
            <a:r>
              <a:rPr lang="en-US" dirty="0"/>
              <a:t>Here, focus on the most puzzling angle: people not taking up EITC benefits.</a:t>
            </a:r>
          </a:p>
        </p:txBody>
      </p:sp>
    </p:spTree>
    <p:extLst>
      <p:ext uri="{BB962C8B-B14F-4D97-AF65-F5344CB8AC3E}">
        <p14:creationId xmlns:p14="http://schemas.microsoft.com/office/powerpoint/2010/main" val="143093492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89C0EED-716C-3B46-81A1-9ED133ABE9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27190"/>
            <a:ext cx="9116118" cy="683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7610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FE99C2-CB88-B348-8FF7-034B7C142D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9" y="0"/>
            <a:ext cx="915240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234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824D0C40-C2E5-FA45-A9E3-CA941EB71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57199"/>
            <a:ext cx="12185938" cy="594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122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135EBE-D2C8-7847-86AF-11287A39B8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563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9F574C-2572-B44A-A645-3E9D14E00A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2159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B0410D3-CADF-DF4C-A400-195569799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390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8EE413A-B02F-074A-879D-50D83296C3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3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0A1046FD-162D-9C4E-A5C4-190E4171C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" y="-773"/>
            <a:ext cx="11963400" cy="6868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33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hetty et al (2013) study variation in knowledge about the EITC to estimate its impact on labor supply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Chetty et al 2013</a:t>
            </a:r>
          </a:p>
        </p:txBody>
      </p:sp>
    </p:spTree>
    <p:extLst>
      <p:ext uri="{BB962C8B-B14F-4D97-AF65-F5344CB8AC3E}">
        <p14:creationId xmlns:p14="http://schemas.microsoft.com/office/powerpoint/2010/main" val="649980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BC43123-913D-6D49-B013-858BFB5661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760" y="60245"/>
            <a:ext cx="9083040" cy="680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638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hart, line chart&#10;&#10;Description automatically generated">
            <a:extLst>
              <a:ext uri="{FF2B5EF4-FFF2-40B4-BE49-F238E27FC236}">
                <a16:creationId xmlns:a16="http://schemas.microsoft.com/office/drawing/2014/main" id="{EEC46EB5-CB3A-8E41-ACE4-C0DE35762F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7645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B84D903D-4588-5F42-B12F-4E7BB11214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061" y="0"/>
            <a:ext cx="914987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61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861</TotalTime>
  <Words>457</Words>
  <Application>Microsoft Macintosh PowerPoint</Application>
  <PresentationFormat>Widescreen</PresentationFormat>
  <Paragraphs>122</Paragraphs>
  <Slides>43</Slides>
  <Notes>4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0" baseType="lpstr">
      <vt:lpstr>Arial</vt:lpstr>
      <vt:lpstr>Calibri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Hendren, Nathaniel</cp:lastModifiedBy>
  <cp:revision>6003</cp:revision>
  <cp:lastPrinted>2019-04-04T02:03:05Z</cp:lastPrinted>
  <dcterms:created xsi:type="dcterms:W3CDTF">2017-09-25T22:39:41Z</dcterms:created>
  <dcterms:modified xsi:type="dcterms:W3CDTF">2022-03-08T02:00:31Z</dcterms:modified>
  <cp:category/>
</cp:coreProperties>
</file>